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48" autoAdjust="0"/>
    <p:restoredTop sz="93875" autoAdjust="0"/>
  </p:normalViewPr>
  <p:slideViewPr>
    <p:cSldViewPr snapToGrid="0" snapToObjects="1">
      <p:cViewPr varScale="1">
        <p:scale>
          <a:sx n="72" d="100"/>
          <a:sy n="72" d="100"/>
        </p:scale>
        <p:origin x="596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5.jpe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772009"/>
            <a:ext cx="4989021" cy="1587701"/>
          </a:xfrm>
        </p:spPr>
        <p:txBody>
          <a:bodyPr>
            <a:normAutofit fontScale="90000"/>
          </a:bodyPr>
          <a:lstStyle/>
          <a:p>
            <a:r>
              <a:rPr lang="fr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Une journée dans la vie dans un Milieu de travail GC – À VENI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5680" y="4469922"/>
            <a:ext cx="2906819" cy="1038583"/>
          </a:xfrm>
        </p:spPr>
        <p:txBody>
          <a:bodyPr>
            <a:normAutofit/>
          </a:bodyPr>
          <a:lstStyle/>
          <a:p>
            <a:r>
              <a:rPr lang="fr-CA" sz="1600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Une présentation pour vous aider à définir votre propre parcour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 : FÉVRIER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Image result for canada wordmark">
            <a:hlinkClick r:id="rId7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GCworkplace-FullColour-FR.png">
            <a:extLst>
              <a:ext uri="{FF2B5EF4-FFF2-40B4-BE49-F238E27FC236}">
                <a16:creationId xmlns:a16="http://schemas.microsoft.com/office/drawing/2014/main" id="{DE3A470F-1795-2E7C-03F8-1EC249F7AA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pic>
        <p:nvPicPr>
          <p:cNvPr id="11" name="Picture 10" descr="goc_fip_2c_f.png">
            <a:extLst>
              <a:ext uri="{FF2B5EF4-FFF2-40B4-BE49-F238E27FC236}">
                <a16:creationId xmlns:a16="http://schemas.microsoft.com/office/drawing/2014/main" id="{C1E43B71-3699-E07A-8655-39BAF6E03A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60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61</TotalTime>
  <Words>30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Une journée dans la vie dans un Milieu de travail GC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37</cp:revision>
  <dcterms:created xsi:type="dcterms:W3CDTF">2018-01-23T15:59:12Z</dcterms:created>
  <dcterms:modified xsi:type="dcterms:W3CDTF">2023-02-02T12:24:50Z</dcterms:modified>
</cp:coreProperties>
</file>